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028079C5-1C0E-4272-ABF8-714A01158688}">
          <p14:sldIdLst>
            <p14:sldId id="2147475173"/>
            <p14:sldId id="2147475174"/>
            <p14:sldId id="2147475175"/>
            <p14:sldId id="2147475176"/>
            <p14:sldId id="2147475177"/>
            <p14:sldId id="2147475178"/>
          </p14:sldIdLst>
        </p14:section>
        <p14:section name="Brackets By Retailer By Sector" id="{BD90F3E3-A5B9-4BF3-99E7-0D45EFE1BB2F}">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A8584647-A5F1-4B2D-BE61-485815C1A46F}">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7122140355978725E-2</c:v>
                </c:pt>
                <c:pt idx="1">
                  <c:v>5.5754557902565078E-3</c:v>
                </c:pt>
                <c:pt idx="2">
                  <c:v>6.814721198565897E-2</c:v>
                </c:pt>
                <c:pt idx="3">
                  <c:v>0.11028045551334936</c:v>
                </c:pt>
                <c:pt idx="4">
                  <c:v>1.7387101469783731E-2</c:v>
                </c:pt>
                <c:pt idx="5">
                  <c:v>0.20733639545642582</c:v>
                </c:pt>
                <c:pt idx="6">
                  <c:v>2.6923792213839906E-2</c:v>
                </c:pt>
                <c:pt idx="7">
                  <c:v>5.1957357396912048E-2</c:v>
                </c:pt>
                <c:pt idx="8">
                  <c:v>0.33084619978805307</c:v>
                </c:pt>
                <c:pt idx="9">
                  <c:v>0.12682383401021838</c:v>
                </c:pt>
                <c:pt idx="10">
                  <c:v>2.6739845540273522E-2</c:v>
                </c:pt>
                <c:pt idx="11">
                  <c:v>8.054054550708686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0812154895849335E-2</c:v>
                </c:pt>
                <c:pt idx="3">
                  <c:v>5.3404629914445435E-3</c:v>
                </c:pt>
                <c:pt idx="5">
                  <c:v>7.061419370462419E-4</c:v>
                </c:pt>
                <c:pt idx="8">
                  <c:v>7.9589139735811946E-3</c:v>
                </c:pt>
                <c:pt idx="9">
                  <c:v>1.40489488263383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3.2845213709128342E-3</c:v>
                </c:pt>
                <c:pt idx="4">
                  <c:v>9.7217668156847847E-2</c:v>
                </c:pt>
                <c:pt idx="6">
                  <c:v>0.19111521943318921</c:v>
                </c:pt>
                <c:pt idx="7">
                  <c:v>0.56736849062265338</c:v>
                </c:pt>
                <c:pt idx="8">
                  <c:v>3.4411113190741596E-3</c:v>
                </c:pt>
                <c:pt idx="10">
                  <c:v>0.10745682504514192</c:v>
                </c:pt>
                <c:pt idx="11">
                  <c:v>3.002206063263369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1365210675183357E-3</c:v>
                </c:pt>
                <c:pt idx="3">
                  <c:v>4.8473048402440178E-3</c:v>
                </c:pt>
                <c:pt idx="5">
                  <c:v>3.061400700725753E-2</c:v>
                </c:pt>
                <c:pt idx="7">
                  <c:v>0.18532018079823825</c:v>
                </c:pt>
                <c:pt idx="8">
                  <c:v>0.70489681660115278</c:v>
                </c:pt>
                <c:pt idx="9">
                  <c:v>6.0781943016946591E-3</c:v>
                </c:pt>
                <c:pt idx="10">
                  <c:v>6.673775699852083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6.9766865028658774E-4</c:v>
                </c:pt>
                <c:pt idx="1">
                  <c:v>1.4491880932194251E-3</c:v>
                </c:pt>
                <c:pt idx="3">
                  <c:v>4.4576960941318028E-3</c:v>
                </c:pt>
                <c:pt idx="5">
                  <c:v>3.0277145264557645E-2</c:v>
                </c:pt>
                <c:pt idx="7">
                  <c:v>0.13449200745841194</c:v>
                </c:pt>
                <c:pt idx="8">
                  <c:v>0.70390349968817845</c:v>
                </c:pt>
                <c:pt idx="9">
                  <c:v>1.0069558173919621E-2</c:v>
                </c:pt>
                <c:pt idx="10">
                  <c:v>0.1146532365772945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4.3253304601556915E-2</c:v>
                </c:pt>
                <c:pt idx="8">
                  <c:v>0.86281742512960802</c:v>
                </c:pt>
                <c:pt idx="9">
                  <c:v>9.33660448490544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517962603237375E-2</c:v>
                </c:pt>
                <c:pt idx="1">
                  <c:v>0.15609582739574643</c:v>
                </c:pt>
                <c:pt idx="4">
                  <c:v>2.4981692301340005E-2</c:v>
                </c:pt>
                <c:pt idx="6">
                  <c:v>0.33239380805694496</c:v>
                </c:pt>
                <c:pt idx="7">
                  <c:v>0.44152779138195869</c:v>
                </c:pt>
                <c:pt idx="10">
                  <c:v>1.542109814398873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228917147230055E-2</c:v>
                </c:pt>
                <c:pt idx="2">
                  <c:v>8.8026111166818521E-2</c:v>
                </c:pt>
                <c:pt idx="3">
                  <c:v>0.14262715024337333</c:v>
                </c:pt>
                <c:pt idx="5">
                  <c:v>0.22104468597369087</c:v>
                </c:pt>
                <c:pt idx="6">
                  <c:v>9.693855530901747E-4</c:v>
                </c:pt>
                <c:pt idx="7">
                  <c:v>1.866192861775446E-3</c:v>
                </c:pt>
                <c:pt idx="8">
                  <c:v>0.36373832536069917</c:v>
                </c:pt>
                <c:pt idx="9">
                  <c:v>0.14790646668867971</c:v>
                </c:pt>
                <c:pt idx="11">
                  <c:v>3.8765162308540694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6.295936018988206E-2</c:v>
                </c:pt>
                <c:pt idx="1">
                  <c:v>0.15937207117371918</c:v>
                </c:pt>
                <c:pt idx="4">
                  <c:v>3.7684488257838142E-2</c:v>
                </c:pt>
                <c:pt idx="6">
                  <c:v>0.26112921429863634</c:v>
                </c:pt>
                <c:pt idx="7">
                  <c:v>0.46450291190561643</c:v>
                </c:pt>
                <c:pt idx="10">
                  <c:v>1.4351256781768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240477465735825E-3</c:v>
                </c:pt>
                <c:pt idx="2">
                  <c:v>0.13191205784668772</c:v>
                </c:pt>
                <c:pt idx="3">
                  <c:v>1.954729740219114E-2</c:v>
                </c:pt>
                <c:pt idx="5">
                  <c:v>0.39049046490337336</c:v>
                </c:pt>
                <c:pt idx="8">
                  <c:v>0.44042776777347037</c:v>
                </c:pt>
                <c:pt idx="9">
                  <c:v>1.566037301653282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094197216483182E-2</c:v>
                </c:pt>
                <c:pt idx="2">
                  <c:v>9.6880276114732294E-2</c:v>
                </c:pt>
                <c:pt idx="3">
                  <c:v>0.17693155055074417</c:v>
                </c:pt>
                <c:pt idx="4">
                  <c:v>5.3446014819036151E-2</c:v>
                </c:pt>
                <c:pt idx="5">
                  <c:v>0.15056949109524098</c:v>
                </c:pt>
                <c:pt idx="6">
                  <c:v>2.2104341013370931E-3</c:v>
                </c:pt>
                <c:pt idx="7">
                  <c:v>4.2047893689314997E-2</c:v>
                </c:pt>
                <c:pt idx="8">
                  <c:v>0.29352518203765332</c:v>
                </c:pt>
                <c:pt idx="9">
                  <c:v>0.16639940016881108</c:v>
                </c:pt>
                <c:pt idx="10">
                  <c:v>6.693498475671169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9.318942391174119E-2</c:v>
                </c:pt>
                <c:pt idx="3">
                  <c:v>5.5137933884248834E-2</c:v>
                </c:pt>
                <c:pt idx="5">
                  <c:v>3.4736632971327265E-2</c:v>
                </c:pt>
                <c:pt idx="8">
                  <c:v>6.7670136525075128E-2</c:v>
                </c:pt>
                <c:pt idx="9">
                  <c:v>1.34781905483237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2.3476306319308922E-2</c:v>
                </c:pt>
                <c:pt idx="2">
                  <c:v>0.14696565929531613</c:v>
                </c:pt>
                <c:pt idx="3">
                  <c:v>0.1841801727141622</c:v>
                </c:pt>
                <c:pt idx="4">
                  <c:v>3.295751999351379E-2</c:v>
                </c:pt>
                <c:pt idx="5">
                  <c:v>0.12209728666031888</c:v>
                </c:pt>
                <c:pt idx="6">
                  <c:v>5.5769791123886107E-3</c:v>
                </c:pt>
                <c:pt idx="7">
                  <c:v>2.6064665698349303E-2</c:v>
                </c:pt>
                <c:pt idx="8">
                  <c:v>0.24034269525849561</c:v>
                </c:pt>
                <c:pt idx="9">
                  <c:v>0.20465369274072781</c:v>
                </c:pt>
                <c:pt idx="10">
                  <c:v>1.3002154197850399E-2</c:v>
                </c:pt>
                <c:pt idx="11">
                  <c:v>6.8194524330137752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0.13883172631490734</c:v>
                </c:pt>
                <c:pt idx="3">
                  <c:v>6.85733513406976E-2</c:v>
                </c:pt>
                <c:pt idx="5">
                  <c:v>8.5199533734594043E-3</c:v>
                </c:pt>
                <c:pt idx="8">
                  <c:v>8.5279185241007888E-2</c:v>
                </c:pt>
                <c:pt idx="9">
                  <c:v>1.803932553000233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9.9025390559011175E-2</c:v>
                </c:pt>
                <c:pt idx="3">
                  <c:v>0.19501182742892956</c:v>
                </c:pt>
                <c:pt idx="5">
                  <c:v>0.19221661010637114</c:v>
                </c:pt>
                <c:pt idx="7">
                  <c:v>4.4553653201097635E-3</c:v>
                </c:pt>
                <c:pt idx="8">
                  <c:v>0.32620737314256526</c:v>
                </c:pt>
                <c:pt idx="9">
                  <c:v>0.18163460063555481</c:v>
                </c:pt>
                <c:pt idx="10">
                  <c:v>1.0718808459023585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5.3602751965469361E-3</c:v>
                </c:pt>
                <c:pt idx="3">
                  <c:v>3.4918555854350801E-3</c:v>
                </c:pt>
                <c:pt idx="5">
                  <c:v>1.5040910202591446E-3</c:v>
                </c:pt>
                <c:pt idx="8">
                  <c:v>5.3456556705909763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9.9025390559011175E-2</c:v>
                </c:pt>
                <c:pt idx="3">
                  <c:v>6.450832288352E-2</c:v>
                </c:pt>
                <c:pt idx="5">
                  <c:v>2.7784252533189901E-2</c:v>
                </c:pt>
                <c:pt idx="8">
                  <c:v>9.8743693851477465E-2</c:v>
                </c:pt>
                <c:pt idx="9">
                  <c:v>6.0214131500869192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3.0312546756316075E-2</c:v>
                </c:pt>
                <c:pt idx="3">
                  <c:v>4.1137278657995359E-2</c:v>
                </c:pt>
                <c:pt idx="5">
                  <c:v>0.26441736817554373</c:v>
                </c:pt>
                <c:pt idx="6">
                  <c:v>4.9131473718148973E-2</c:v>
                </c:pt>
                <c:pt idx="7">
                  <c:v>0.49270407647915671</c:v>
                </c:pt>
                <c:pt idx="8">
                  <c:v>5.9502162452361049E-2</c:v>
                </c:pt>
                <c:pt idx="9">
                  <c:v>5.8546804951692615E-2</c:v>
                </c:pt>
                <c:pt idx="10">
                  <c:v>4.231288484179993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4.0866662464118811E-2</c:v>
                </c:pt>
                <c:pt idx="4">
                  <c:v>4.5633021875691224E-2</c:v>
                </c:pt>
                <c:pt idx="5">
                  <c:v>3.8701355527194066E-2</c:v>
                </c:pt>
                <c:pt idx="6">
                  <c:v>0.22192560355519467</c:v>
                </c:pt>
                <c:pt idx="7">
                  <c:v>0.54405836650955963</c:v>
                </c:pt>
                <c:pt idx="8">
                  <c:v>4.9817374574832686E-2</c:v>
                </c:pt>
                <c:pt idx="9">
                  <c:v>5.870398517248189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4730354873988525E-2</c:v>
                </c:pt>
                <c:pt idx="3">
                  <c:v>6.8172638867039656E-2</c:v>
                </c:pt>
                <c:pt idx="5">
                  <c:v>0.30914313265850801</c:v>
                </c:pt>
                <c:pt idx="8">
                  <c:v>0.54860475711832579</c:v>
                </c:pt>
                <c:pt idx="9">
                  <c:v>5.871901674128954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3.0514884509204492E-3</c:v>
                </c:pt>
                <c:pt idx="1">
                  <c:v>4.4352743456934855E-3</c:v>
                </c:pt>
                <c:pt idx="2">
                  <c:v>3.4694502563154175E-3</c:v>
                </c:pt>
                <c:pt idx="3">
                  <c:v>5.9649644512206321E-2</c:v>
                </c:pt>
                <c:pt idx="4">
                  <c:v>3.9085132320912236E-2</c:v>
                </c:pt>
                <c:pt idx="5">
                  <c:v>8.6695116521100249E-2</c:v>
                </c:pt>
                <c:pt idx="6">
                  <c:v>2.7360055985208086E-2</c:v>
                </c:pt>
                <c:pt idx="7">
                  <c:v>0.24180534467699411</c:v>
                </c:pt>
                <c:pt idx="8">
                  <c:v>0.14148704324444239</c:v>
                </c:pt>
                <c:pt idx="9">
                  <c:v>0.14860283441539809</c:v>
                </c:pt>
                <c:pt idx="10">
                  <c:v>0.244358615270809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3623544200504039E-3</c:v>
                </c:pt>
                <c:pt idx="1">
                  <c:v>1.1454750131276404E-3</c:v>
                </c:pt>
                <c:pt idx="2">
                  <c:v>7.4220041840183384E-4</c:v>
                </c:pt>
                <c:pt idx="3">
                  <c:v>5.2895285528101438E-2</c:v>
                </c:pt>
                <c:pt idx="4">
                  <c:v>3.9345803659033951E-2</c:v>
                </c:pt>
                <c:pt idx="5">
                  <c:v>9.1889564298411372E-2</c:v>
                </c:pt>
                <c:pt idx="6">
                  <c:v>2.2778357111808513E-2</c:v>
                </c:pt>
                <c:pt idx="7">
                  <c:v>0.19375608835055957</c:v>
                </c:pt>
                <c:pt idx="8">
                  <c:v>0.24876664768393597</c:v>
                </c:pt>
                <c:pt idx="9">
                  <c:v>0.13008962121002385</c:v>
                </c:pt>
                <c:pt idx="10">
                  <c:v>0.21422860230654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7122140355978725E-2</c:v>
                </c:pt>
                <c:pt idx="1">
                  <c:v>5.5754557902565078E-3</c:v>
                </c:pt>
                <c:pt idx="2">
                  <c:v>6.814721198565897E-2</c:v>
                </c:pt>
                <c:pt idx="3">
                  <c:v>0.11028045551334936</c:v>
                </c:pt>
                <c:pt idx="4">
                  <c:v>1.7387101469783731E-2</c:v>
                </c:pt>
                <c:pt idx="5">
                  <c:v>0.20733639545642582</c:v>
                </c:pt>
                <c:pt idx="6">
                  <c:v>2.6923792213839906E-2</c:v>
                </c:pt>
                <c:pt idx="7">
                  <c:v>5.1957357396912048E-2</c:v>
                </c:pt>
                <c:pt idx="8">
                  <c:v>0.33084619978805307</c:v>
                </c:pt>
                <c:pt idx="9">
                  <c:v>0.12682383401021838</c:v>
                </c:pt>
                <c:pt idx="10">
                  <c:v>2.6739845540273522E-2</c:v>
                </c:pt>
                <c:pt idx="11">
                  <c:v>8.054054550708686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0588329459832054E-3</c:v>
                </c:pt>
                <c:pt idx="1">
                  <c:v>7.8251402036527088E-4</c:v>
                </c:pt>
                <c:pt idx="4">
                  <c:v>8.9010434283185988E-2</c:v>
                </c:pt>
                <c:pt idx="6">
                  <c:v>0.11588715556988459</c:v>
                </c:pt>
                <c:pt idx="7">
                  <c:v>0.38683540238311287</c:v>
                </c:pt>
                <c:pt idx="8">
                  <c:v>8.171563093686076E-3</c:v>
                </c:pt>
                <c:pt idx="9">
                  <c:v>0.39440308746753622</c:v>
                </c:pt>
                <c:pt idx="10">
                  <c:v>3.1710661268696699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5157577861394508E-2</c:v>
                </c:pt>
                <c:pt idx="1">
                  <c:v>4.0338290807629851E-2</c:v>
                </c:pt>
                <c:pt idx="2">
                  <c:v>2.7317055035750843E-2</c:v>
                </c:pt>
                <c:pt idx="3">
                  <c:v>4.5773405333712824E-2</c:v>
                </c:pt>
                <c:pt idx="4">
                  <c:v>0.16969832877932148</c:v>
                </c:pt>
                <c:pt idx="5">
                  <c:v>0.39888044764011138</c:v>
                </c:pt>
                <c:pt idx="6">
                  <c:v>8.5453563995645465E-2</c:v>
                </c:pt>
                <c:pt idx="7">
                  <c:v>0.16633249927719454</c:v>
                </c:pt>
                <c:pt idx="8">
                  <c:v>4.0550623547376534E-2</c:v>
                </c:pt>
                <c:pt idx="9">
                  <c:v>9.7361119113524835E-3</c:v>
                </c:pt>
                <c:pt idx="10">
                  <c:v>7.620958105100844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236538655618517E-2</c:v>
                </c:pt>
                <c:pt idx="1">
                  <c:v>2.5881090291032308E-2</c:v>
                </c:pt>
                <c:pt idx="2">
                  <c:v>2.017391439462202E-2</c:v>
                </c:pt>
                <c:pt idx="3">
                  <c:v>3.9383419606315632E-2</c:v>
                </c:pt>
                <c:pt idx="4">
                  <c:v>0.15717055300638599</c:v>
                </c:pt>
                <c:pt idx="5">
                  <c:v>8.8318017773152624E-2</c:v>
                </c:pt>
                <c:pt idx="6">
                  <c:v>0.41071261682106197</c:v>
                </c:pt>
                <c:pt idx="7">
                  <c:v>4.4396021725698349E-2</c:v>
                </c:pt>
                <c:pt idx="8">
                  <c:v>0.18771142446126557</c:v>
                </c:pt>
                <c:pt idx="9">
                  <c:v>1.388366573483737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5205229389434692E-2</c:v>
                </c:pt>
                <c:pt idx="1">
                  <c:v>7.0854005164393927E-2</c:v>
                </c:pt>
                <c:pt idx="4">
                  <c:v>0.22945432953046957</c:v>
                </c:pt>
                <c:pt idx="5">
                  <c:v>3.8148882224123101E-3</c:v>
                </c:pt>
                <c:pt idx="6">
                  <c:v>0.45957844987696017</c:v>
                </c:pt>
                <c:pt idx="7">
                  <c:v>0.19641326098319853</c:v>
                </c:pt>
                <c:pt idx="10">
                  <c:v>1.467023590153841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794904042781517E-3</c:v>
                </c:pt>
                <c:pt idx="3">
                  <c:v>1.2097336922149603E-2</c:v>
                </c:pt>
                <c:pt idx="4">
                  <c:v>5.3250800681535662E-2</c:v>
                </c:pt>
                <c:pt idx="5">
                  <c:v>4.9617802949127432E-2</c:v>
                </c:pt>
                <c:pt idx="6">
                  <c:v>0.13317494056842391</c:v>
                </c:pt>
                <c:pt idx="7">
                  <c:v>0.45066032068205897</c:v>
                </c:pt>
                <c:pt idx="8">
                  <c:v>0.13758282380576167</c:v>
                </c:pt>
                <c:pt idx="9">
                  <c:v>0.11445756851909025</c:v>
                </c:pt>
                <c:pt idx="10">
                  <c:v>4.3181035605857232E-2</c:v>
                </c:pt>
                <c:pt idx="11">
                  <c:v>3.916146748932665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1.7290459149053223E-3</c:v>
                </c:pt>
                <c:pt idx="8">
                  <c:v>6.2158759436849037E-3</c:v>
                </c:pt>
                <c:pt idx="10">
                  <c:v>5.233754392138392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9200574149634607E-3</c:v>
                </c:pt>
                <c:pt idx="3">
                  <c:v>6.1681669626251878E-2</c:v>
                </c:pt>
                <c:pt idx="4">
                  <c:v>2.7371261184344724E-2</c:v>
                </c:pt>
                <c:pt idx="5">
                  <c:v>0.11202142177201879</c:v>
                </c:pt>
                <c:pt idx="6">
                  <c:v>3.4117434126563401E-2</c:v>
                </c:pt>
                <c:pt idx="7">
                  <c:v>0.12558123125571202</c:v>
                </c:pt>
                <c:pt idx="8">
                  <c:v>0.44086480824993957</c:v>
                </c:pt>
                <c:pt idx="9">
                  <c:v>6.4350498199608197E-2</c:v>
                </c:pt>
                <c:pt idx="10">
                  <c:v>0.13114877323465615</c:v>
                </c:pt>
                <c:pt idx="12">
                  <c:v>5.045559208205015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3.2845213709128342E-3</c:v>
                </c:pt>
                <c:pt idx="4">
                  <c:v>9.7217668156847847E-2</c:v>
                </c:pt>
                <c:pt idx="6">
                  <c:v>0.19111521943318921</c:v>
                </c:pt>
                <c:pt idx="7">
                  <c:v>0.56736849062265338</c:v>
                </c:pt>
                <c:pt idx="8">
                  <c:v>3.4411113190741596E-3</c:v>
                </c:pt>
                <c:pt idx="10">
                  <c:v>0.10745682504514192</c:v>
                </c:pt>
                <c:pt idx="11">
                  <c:v>3.002206063263369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1365210675183357E-3</c:v>
                </c:pt>
                <c:pt idx="3">
                  <c:v>4.8473048402440178E-3</c:v>
                </c:pt>
                <c:pt idx="5">
                  <c:v>3.061400700725753E-2</c:v>
                </c:pt>
                <c:pt idx="7">
                  <c:v>0.18532018079823825</c:v>
                </c:pt>
                <c:pt idx="8">
                  <c:v>0.70489681660115278</c:v>
                </c:pt>
                <c:pt idx="9">
                  <c:v>6.0781943016946591E-3</c:v>
                </c:pt>
                <c:pt idx="10">
                  <c:v>6.673775699852083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6.9766865028658774E-4</c:v>
                </c:pt>
                <c:pt idx="1">
                  <c:v>1.4491880932194251E-3</c:v>
                </c:pt>
                <c:pt idx="3">
                  <c:v>4.4576960941318028E-3</c:v>
                </c:pt>
                <c:pt idx="5">
                  <c:v>3.0277145264557645E-2</c:v>
                </c:pt>
                <c:pt idx="7">
                  <c:v>0.13449200745841194</c:v>
                </c:pt>
                <c:pt idx="8">
                  <c:v>0.70390349968817845</c:v>
                </c:pt>
                <c:pt idx="9">
                  <c:v>1.0069558173919621E-2</c:v>
                </c:pt>
                <c:pt idx="10">
                  <c:v>0.1146532365772945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4.3253304601556915E-2</c:v>
                </c:pt>
                <c:pt idx="8">
                  <c:v>0.86281742512960802</c:v>
                </c:pt>
                <c:pt idx="9">
                  <c:v>9.33660448490544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8899443980434349E-2</c:v>
                </c:pt>
                <c:pt idx="1">
                  <c:v>5.1803542935656838E-3</c:v>
                </c:pt>
                <c:pt idx="2">
                  <c:v>6.4755866778982929E-2</c:v>
                </c:pt>
                <c:pt idx="3">
                  <c:v>0.10461701106794237</c:v>
                </c:pt>
                <c:pt idx="4">
                  <c:v>1.8021381861367716E-2</c:v>
                </c:pt>
                <c:pt idx="5">
                  <c:v>0.19988749427527719</c:v>
                </c:pt>
                <c:pt idx="6">
                  <c:v>2.5989686419916082E-2</c:v>
                </c:pt>
                <c:pt idx="7">
                  <c:v>6.0607765535214686E-2</c:v>
                </c:pt>
                <c:pt idx="8">
                  <c:v>0.33208029496481511</c:v>
                </c:pt>
                <c:pt idx="9">
                  <c:v>0.12980514707688273</c:v>
                </c:pt>
                <c:pt idx="10">
                  <c:v>2.977465156256528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517962603237375E-2</c:v>
                </c:pt>
                <c:pt idx="1">
                  <c:v>0.15609582739574643</c:v>
                </c:pt>
                <c:pt idx="4">
                  <c:v>2.4981692301340005E-2</c:v>
                </c:pt>
                <c:pt idx="6">
                  <c:v>0.33239380805694496</c:v>
                </c:pt>
                <c:pt idx="7">
                  <c:v>0.44152779138195869</c:v>
                </c:pt>
                <c:pt idx="10">
                  <c:v>1.542109814398873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6.295936018988206E-2</c:v>
                </c:pt>
                <c:pt idx="1">
                  <c:v>0.15937207117371918</c:v>
                </c:pt>
                <c:pt idx="4">
                  <c:v>3.7684488257838142E-2</c:v>
                </c:pt>
                <c:pt idx="6">
                  <c:v>0.26112921429863634</c:v>
                </c:pt>
                <c:pt idx="7">
                  <c:v>0.46450291190561643</c:v>
                </c:pt>
                <c:pt idx="10">
                  <c:v>1.4351256781768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240477465735825E-3</c:v>
                </c:pt>
                <c:pt idx="2">
                  <c:v>0.13191205784668772</c:v>
                </c:pt>
                <c:pt idx="3">
                  <c:v>1.954729740219114E-2</c:v>
                </c:pt>
                <c:pt idx="5">
                  <c:v>0.39049046490337336</c:v>
                </c:pt>
                <c:pt idx="8">
                  <c:v>0.44042776777347037</c:v>
                </c:pt>
                <c:pt idx="9">
                  <c:v>1.566037301653282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094197216483182E-2</c:v>
                </c:pt>
                <c:pt idx="2">
                  <c:v>9.6880276114732294E-2</c:v>
                </c:pt>
                <c:pt idx="3">
                  <c:v>0.17693155055074417</c:v>
                </c:pt>
                <c:pt idx="4">
                  <c:v>5.3446014819036151E-2</c:v>
                </c:pt>
                <c:pt idx="5">
                  <c:v>0.15056949109524098</c:v>
                </c:pt>
                <c:pt idx="6">
                  <c:v>2.2104341013370931E-3</c:v>
                </c:pt>
                <c:pt idx="7">
                  <c:v>4.2047893689314997E-2</c:v>
                </c:pt>
                <c:pt idx="8">
                  <c:v>0.29352518203765332</c:v>
                </c:pt>
                <c:pt idx="9">
                  <c:v>0.16639940016881108</c:v>
                </c:pt>
                <c:pt idx="10">
                  <c:v>6.693498475671169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2.3476306319308922E-2</c:v>
                </c:pt>
                <c:pt idx="2">
                  <c:v>0.14696565929531613</c:v>
                </c:pt>
                <c:pt idx="3">
                  <c:v>0.1841801727141622</c:v>
                </c:pt>
                <c:pt idx="4">
                  <c:v>3.295751999351379E-2</c:v>
                </c:pt>
                <c:pt idx="5">
                  <c:v>0.12209728666031888</c:v>
                </c:pt>
                <c:pt idx="6">
                  <c:v>5.5769791123886107E-3</c:v>
                </c:pt>
                <c:pt idx="7">
                  <c:v>2.6064665698349303E-2</c:v>
                </c:pt>
                <c:pt idx="8">
                  <c:v>0.24034269525849561</c:v>
                </c:pt>
                <c:pt idx="9">
                  <c:v>0.20465369274072781</c:v>
                </c:pt>
                <c:pt idx="10">
                  <c:v>1.3002154197850399E-2</c:v>
                </c:pt>
                <c:pt idx="11">
                  <c:v>6.8194524330137752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1.8658240570478485E-3</c:v>
                </c:pt>
                <c:pt idx="8">
                  <c:v>7.0197631961350414E-3</c:v>
                </c:pt>
                <c:pt idx="10">
                  <c:v>6.924850424881912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9.9025390559011175E-2</c:v>
                </c:pt>
                <c:pt idx="3">
                  <c:v>0.19501182742892956</c:v>
                </c:pt>
                <c:pt idx="5">
                  <c:v>0.19221661010637114</c:v>
                </c:pt>
                <c:pt idx="7">
                  <c:v>4.4553653201097635E-3</c:v>
                </c:pt>
                <c:pt idx="8">
                  <c:v>0.32620737314256526</c:v>
                </c:pt>
                <c:pt idx="9">
                  <c:v>0.18163460063555481</c:v>
                </c:pt>
                <c:pt idx="10">
                  <c:v>1.0718808459023585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3.0312546756316075E-2</c:v>
                </c:pt>
                <c:pt idx="3">
                  <c:v>4.1137278657995359E-2</c:v>
                </c:pt>
                <c:pt idx="5">
                  <c:v>0.26441736817554373</c:v>
                </c:pt>
                <c:pt idx="6">
                  <c:v>4.9131473718148973E-2</c:v>
                </c:pt>
                <c:pt idx="7">
                  <c:v>0.49270407647915671</c:v>
                </c:pt>
                <c:pt idx="8">
                  <c:v>5.9502162452361049E-2</c:v>
                </c:pt>
                <c:pt idx="9">
                  <c:v>5.8546804951692615E-2</c:v>
                </c:pt>
                <c:pt idx="10">
                  <c:v>4.231288484179993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2.0110324760778144E-2</c:v>
                </c:pt>
                <c:pt idx="8">
                  <c:v>6.8417187732425735E-2</c:v>
                </c:pt>
                <c:pt idx="9">
                  <c:v>1.604095453152696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4.0866662464118811E-2</c:v>
                </c:pt>
                <c:pt idx="4">
                  <c:v>4.5633021875691224E-2</c:v>
                </c:pt>
                <c:pt idx="5">
                  <c:v>3.8701355527194066E-2</c:v>
                </c:pt>
                <c:pt idx="6">
                  <c:v>0.22192560355519467</c:v>
                </c:pt>
                <c:pt idx="7">
                  <c:v>0.54405836650955963</c:v>
                </c:pt>
                <c:pt idx="8">
                  <c:v>4.9817374574832686E-2</c:v>
                </c:pt>
                <c:pt idx="9">
                  <c:v>5.870398517248189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2.0414795047385217E-2</c:v>
                </c:pt>
                <c:pt idx="8">
                  <c:v>7.3401727640319561E-2</c:v>
                </c:pt>
                <c:pt idx="9">
                  <c:v>1.527106411326292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4730354873988525E-2</c:v>
                </c:pt>
                <c:pt idx="3">
                  <c:v>6.8172638867039656E-2</c:v>
                </c:pt>
                <c:pt idx="5">
                  <c:v>0.30914313265850801</c:v>
                </c:pt>
                <c:pt idx="8">
                  <c:v>0.54860475711832579</c:v>
                </c:pt>
                <c:pt idx="9">
                  <c:v>5.871901674128954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3.6411951396942636E-2</c:v>
                </c:pt>
                <c:pt idx="8">
                  <c:v>8.6254632221901786E-2</c:v>
                </c:pt>
                <c:pt idx="9">
                  <c:v>2.476004233039275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3.0514884509204492E-3</c:v>
                </c:pt>
                <c:pt idx="1">
                  <c:v>4.4352743456934855E-3</c:v>
                </c:pt>
                <c:pt idx="2">
                  <c:v>3.4694502563154175E-3</c:v>
                </c:pt>
                <c:pt idx="3">
                  <c:v>5.9649644512206321E-2</c:v>
                </c:pt>
                <c:pt idx="4">
                  <c:v>3.9085132320912236E-2</c:v>
                </c:pt>
                <c:pt idx="5">
                  <c:v>8.6695116521100249E-2</c:v>
                </c:pt>
                <c:pt idx="6">
                  <c:v>2.7360055985208086E-2</c:v>
                </c:pt>
                <c:pt idx="7">
                  <c:v>0.24180534467699411</c:v>
                </c:pt>
                <c:pt idx="8">
                  <c:v>0.14148704324444239</c:v>
                </c:pt>
                <c:pt idx="9">
                  <c:v>0.14860283441539809</c:v>
                </c:pt>
                <c:pt idx="10">
                  <c:v>0.244358615270809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228917147230055E-2</c:v>
                </c:pt>
                <c:pt idx="2">
                  <c:v>8.8026111166818521E-2</c:v>
                </c:pt>
                <c:pt idx="3">
                  <c:v>0.14262715024337333</c:v>
                </c:pt>
                <c:pt idx="5">
                  <c:v>0.22104468597369087</c:v>
                </c:pt>
                <c:pt idx="6">
                  <c:v>9.693855530901747E-4</c:v>
                </c:pt>
                <c:pt idx="7">
                  <c:v>1.866192861775446E-3</c:v>
                </c:pt>
                <c:pt idx="8">
                  <c:v>0.36373832536069917</c:v>
                </c:pt>
                <c:pt idx="9">
                  <c:v>0.14790646668867971</c:v>
                </c:pt>
                <c:pt idx="11">
                  <c:v>3.8765162308540694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1.091566971102080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3623544200504039E-3</c:v>
                </c:pt>
                <c:pt idx="1">
                  <c:v>1.1454750131276404E-3</c:v>
                </c:pt>
                <c:pt idx="2">
                  <c:v>7.4220041840183384E-4</c:v>
                </c:pt>
                <c:pt idx="3">
                  <c:v>5.2895285528101438E-2</c:v>
                </c:pt>
                <c:pt idx="4">
                  <c:v>3.9345803659033951E-2</c:v>
                </c:pt>
                <c:pt idx="5">
                  <c:v>9.1889564298411372E-2</c:v>
                </c:pt>
                <c:pt idx="6">
                  <c:v>2.2778357111808513E-2</c:v>
                </c:pt>
                <c:pt idx="7">
                  <c:v>0.19375608835055957</c:v>
                </c:pt>
                <c:pt idx="8">
                  <c:v>0.24876664768393597</c:v>
                </c:pt>
                <c:pt idx="9">
                  <c:v>0.13008962121002385</c:v>
                </c:pt>
                <c:pt idx="10">
                  <c:v>0.21422860230654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1.607670486383379E-2</c:v>
                </c:pt>
                <c:pt idx="10">
                  <c:v>6.2881405862937035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0588329459832054E-3</c:v>
                </c:pt>
                <c:pt idx="1">
                  <c:v>7.8251402036527088E-4</c:v>
                </c:pt>
                <c:pt idx="4">
                  <c:v>8.9010434283185988E-2</c:v>
                </c:pt>
                <c:pt idx="6">
                  <c:v>0.11588715556988459</c:v>
                </c:pt>
                <c:pt idx="7">
                  <c:v>0.38683540238311287</c:v>
                </c:pt>
                <c:pt idx="8">
                  <c:v>8.171563093686076E-3</c:v>
                </c:pt>
                <c:pt idx="9">
                  <c:v>0.39440308746753622</c:v>
                </c:pt>
                <c:pt idx="10">
                  <c:v>3.1710661268696699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1.423997467493267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5157577861394508E-2</c:v>
                </c:pt>
                <c:pt idx="1">
                  <c:v>4.0338290807629851E-2</c:v>
                </c:pt>
                <c:pt idx="2">
                  <c:v>2.7317055035750843E-2</c:v>
                </c:pt>
                <c:pt idx="3">
                  <c:v>4.5773405333712824E-2</c:v>
                </c:pt>
                <c:pt idx="4">
                  <c:v>0.16969832877932148</c:v>
                </c:pt>
                <c:pt idx="5">
                  <c:v>0.39888044764011138</c:v>
                </c:pt>
                <c:pt idx="6">
                  <c:v>8.5453563995645465E-2</c:v>
                </c:pt>
                <c:pt idx="7">
                  <c:v>0.16633249927719454</c:v>
                </c:pt>
                <c:pt idx="8">
                  <c:v>4.0550623547376534E-2</c:v>
                </c:pt>
                <c:pt idx="9">
                  <c:v>9.7361119113524835E-3</c:v>
                </c:pt>
                <c:pt idx="10">
                  <c:v>7.620958105100844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236538655618517E-2</c:v>
                </c:pt>
                <c:pt idx="1">
                  <c:v>2.5881090291032308E-2</c:v>
                </c:pt>
                <c:pt idx="2">
                  <c:v>2.017391439462202E-2</c:v>
                </c:pt>
                <c:pt idx="3">
                  <c:v>3.9383419606315632E-2</c:v>
                </c:pt>
                <c:pt idx="4">
                  <c:v>0.15717055300638599</c:v>
                </c:pt>
                <c:pt idx="5">
                  <c:v>8.8318017773152624E-2</c:v>
                </c:pt>
                <c:pt idx="6">
                  <c:v>0.41071261682106197</c:v>
                </c:pt>
                <c:pt idx="7">
                  <c:v>4.4396021725698349E-2</c:v>
                </c:pt>
                <c:pt idx="8">
                  <c:v>0.18771142446126557</c:v>
                </c:pt>
                <c:pt idx="9">
                  <c:v>1.388366573483737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5205229389434692E-2</c:v>
                </c:pt>
                <c:pt idx="1">
                  <c:v>7.0854005164393927E-2</c:v>
                </c:pt>
                <c:pt idx="4">
                  <c:v>0.22945432953046957</c:v>
                </c:pt>
                <c:pt idx="5">
                  <c:v>3.8148882224123101E-3</c:v>
                </c:pt>
                <c:pt idx="6">
                  <c:v>0.45957844987696017</c:v>
                </c:pt>
                <c:pt idx="7">
                  <c:v>0.19641326098319853</c:v>
                </c:pt>
                <c:pt idx="10">
                  <c:v>1.467023590153841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2.458112429236194E-3</c:v>
                </c:pt>
                <c:pt idx="7">
                  <c:v>6.3265941733333629E-3</c:v>
                </c:pt>
                <c:pt idx="10">
                  <c:v>5.9174584690785967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794904042781517E-3</c:v>
                </c:pt>
                <c:pt idx="3">
                  <c:v>1.2097336922149603E-2</c:v>
                </c:pt>
                <c:pt idx="4">
                  <c:v>5.3250800681535662E-2</c:v>
                </c:pt>
                <c:pt idx="5">
                  <c:v>4.9617802949127432E-2</c:v>
                </c:pt>
                <c:pt idx="6">
                  <c:v>0.13317494056842391</c:v>
                </c:pt>
                <c:pt idx="7">
                  <c:v>0.45066032068205897</c:v>
                </c:pt>
                <c:pt idx="8">
                  <c:v>0.13758282380576167</c:v>
                </c:pt>
                <c:pt idx="9">
                  <c:v>0.11445756851909025</c:v>
                </c:pt>
                <c:pt idx="10">
                  <c:v>4.3181035605857232E-2</c:v>
                </c:pt>
                <c:pt idx="11">
                  <c:v>3.916146748932665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9200574149634607E-3</c:v>
                </c:pt>
                <c:pt idx="3">
                  <c:v>6.1681669626251878E-2</c:v>
                </c:pt>
                <c:pt idx="4">
                  <c:v>2.7371261184344724E-2</c:v>
                </c:pt>
                <c:pt idx="5">
                  <c:v>0.11202142177201879</c:v>
                </c:pt>
                <c:pt idx="6">
                  <c:v>3.4117434126563401E-2</c:v>
                </c:pt>
                <c:pt idx="7">
                  <c:v>0.12558123125571202</c:v>
                </c:pt>
                <c:pt idx="8">
                  <c:v>0.44086480824993957</c:v>
                </c:pt>
                <c:pt idx="9">
                  <c:v>6.4350498199608197E-2</c:v>
                </c:pt>
                <c:pt idx="10">
                  <c:v>0.13114877323465615</c:v>
                </c:pt>
                <c:pt idx="12">
                  <c:v>5.045559208205015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3.2845213709128342E-3</c:v>
                </c:pt>
                <c:pt idx="4">
                  <c:v>9.7217668156847847E-2</c:v>
                </c:pt>
                <c:pt idx="6">
                  <c:v>0.19111521943318921</c:v>
                </c:pt>
                <c:pt idx="7">
                  <c:v>0.56736849062265338</c:v>
                </c:pt>
                <c:pt idx="8">
                  <c:v>3.4411113190741596E-3</c:v>
                </c:pt>
                <c:pt idx="10">
                  <c:v>0.10745682504514192</c:v>
                </c:pt>
                <c:pt idx="11">
                  <c:v>3.0022060632633692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1365210675183357E-3</c:v>
                </c:pt>
                <c:pt idx="3">
                  <c:v>4.8473048402440178E-3</c:v>
                </c:pt>
                <c:pt idx="5">
                  <c:v>3.061400700725753E-2</c:v>
                </c:pt>
                <c:pt idx="7">
                  <c:v>0.18532018079823825</c:v>
                </c:pt>
                <c:pt idx="8">
                  <c:v>0.70489681660115278</c:v>
                </c:pt>
                <c:pt idx="9">
                  <c:v>6.0781943016946591E-3</c:v>
                </c:pt>
                <c:pt idx="10">
                  <c:v>6.673775699852083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6.9766865028658774E-4</c:v>
                </c:pt>
                <c:pt idx="1">
                  <c:v>1.4491880932194251E-3</c:v>
                </c:pt>
                <c:pt idx="3">
                  <c:v>4.4576960941318028E-3</c:v>
                </c:pt>
                <c:pt idx="5">
                  <c:v>3.0277145264557645E-2</c:v>
                </c:pt>
                <c:pt idx="7">
                  <c:v>0.13449200745841194</c:v>
                </c:pt>
                <c:pt idx="8">
                  <c:v>0.70390349968817845</c:v>
                </c:pt>
                <c:pt idx="9">
                  <c:v>1.0069558173919621E-2</c:v>
                </c:pt>
                <c:pt idx="10">
                  <c:v>0.1146532365772945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8554906966759353E-3</c:v>
                </c:pt>
                <c:pt idx="1">
                  <c:v>2.8441740379247186E-2</c:v>
                </c:pt>
                <c:pt idx="2">
                  <c:v>9.7613213628071141E-3</c:v>
                </c:pt>
                <c:pt idx="3">
                  <c:v>3.0379211598501585E-2</c:v>
                </c:pt>
                <c:pt idx="4">
                  <c:v>9.7600513763922508E-2</c:v>
                </c:pt>
                <c:pt idx="5">
                  <c:v>4.6255803376908433E-2</c:v>
                </c:pt>
                <c:pt idx="6">
                  <c:v>0.21170893053512191</c:v>
                </c:pt>
                <c:pt idx="7">
                  <c:v>0.32083983687169554</c:v>
                </c:pt>
                <c:pt idx="8">
                  <c:v>9.0787088002621835E-2</c:v>
                </c:pt>
                <c:pt idx="9">
                  <c:v>0.11338747694483581</c:v>
                </c:pt>
                <c:pt idx="10">
                  <c:v>4.5216353372256775E-2</c:v>
                </c:pt>
                <c:pt idx="11">
                  <c:v>7.56581387852979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4.3253304601556915E-2</c:v>
                </c:pt>
                <c:pt idx="8">
                  <c:v>0.86281742512960802</c:v>
                </c:pt>
                <c:pt idx="9">
                  <c:v>9.336604484905444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517962603237375E-2</c:v>
                </c:pt>
                <c:pt idx="1">
                  <c:v>0.15609582739574643</c:v>
                </c:pt>
                <c:pt idx="4">
                  <c:v>2.4981692301340005E-2</c:v>
                </c:pt>
                <c:pt idx="6">
                  <c:v>0.33239380805694496</c:v>
                </c:pt>
                <c:pt idx="7">
                  <c:v>0.44152779138195869</c:v>
                </c:pt>
                <c:pt idx="10">
                  <c:v>1.542109814398873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6.295936018988206E-2</c:v>
                </c:pt>
                <c:pt idx="1">
                  <c:v>0.15937207117371918</c:v>
                </c:pt>
                <c:pt idx="4">
                  <c:v>3.7684488257838142E-2</c:v>
                </c:pt>
                <c:pt idx="6">
                  <c:v>0.26112921429863634</c:v>
                </c:pt>
                <c:pt idx="7">
                  <c:v>0.46450291190561643</c:v>
                </c:pt>
                <c:pt idx="10">
                  <c:v>1.4351256781768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7240477465735825E-3</c:v>
                </c:pt>
                <c:pt idx="2">
                  <c:v>0.13191205784668772</c:v>
                </c:pt>
                <c:pt idx="3">
                  <c:v>1.954729740219114E-2</c:v>
                </c:pt>
                <c:pt idx="5">
                  <c:v>0.39049046490337336</c:v>
                </c:pt>
                <c:pt idx="8">
                  <c:v>0.44042776777347037</c:v>
                </c:pt>
                <c:pt idx="9">
                  <c:v>1.566037301653282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3.6451473003585645E-3</c:v>
                </c:pt>
                <c:pt idx="6">
                  <c:v>1.7075965277870697E-3</c:v>
                </c:pt>
                <c:pt idx="7">
                  <c:v>6.3088928781969604E-3</c:v>
                </c:pt>
                <c:pt idx="9">
                  <c:v>3.134797782241089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6.3827322484260708E-3</c:v>
                </c:pt>
                <c:pt idx="6">
                  <c:v>2.9900386807783577E-3</c:v>
                </c:pt>
                <c:pt idx="7">
                  <c:v>1.1047008723508169E-2</c:v>
                </c:pt>
                <c:pt idx="9">
                  <c:v>5.489099136003785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3734167837544734E-3</c:v>
                </c:pt>
                <c:pt idx="1">
                  <c:v>3.204776445831363E-2</c:v>
                </c:pt>
                <c:pt idx="2">
                  <c:v>8.4053595938634509E-3</c:v>
                </c:pt>
                <c:pt idx="3">
                  <c:v>2.9240642403088886E-2</c:v>
                </c:pt>
                <c:pt idx="4">
                  <c:v>9.5440009926194599E-2</c:v>
                </c:pt>
                <c:pt idx="5">
                  <c:v>4.1250137374282493E-2</c:v>
                </c:pt>
                <c:pt idx="6">
                  <c:v>0.1994191602003694</c:v>
                </c:pt>
                <c:pt idx="7">
                  <c:v>0.32526788548230701</c:v>
                </c:pt>
                <c:pt idx="8">
                  <c:v>9.8233775504279225E-2</c:v>
                </c:pt>
                <c:pt idx="9">
                  <c:v>0.11967348660579877</c:v>
                </c:pt>
                <c:pt idx="10">
                  <c:v>4.641859315961274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9.9448764407935319E-3</c:v>
                </c:pt>
                <c:pt idx="5">
                  <c:v>2.4415242697922519E-3</c:v>
                </c:pt>
                <c:pt idx="8">
                  <c:v>1.0215575661117129E-2</c:v>
                </c:pt>
                <c:pt idx="9">
                  <c:v>7.630816424470539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2960365324271645E-3</c:v>
                </c:pt>
                <c:pt idx="2">
                  <c:v>3.6114911038373609E-2</c:v>
                </c:pt>
                <c:pt idx="3">
                  <c:v>0.13704769360926553</c:v>
                </c:pt>
                <c:pt idx="5">
                  <c:v>0.26434531785433935</c:v>
                </c:pt>
                <c:pt idx="6">
                  <c:v>1.1162341815090673E-3</c:v>
                </c:pt>
                <c:pt idx="7">
                  <c:v>3.3359109177129491E-3</c:v>
                </c:pt>
                <c:pt idx="8">
                  <c:v>0.40059200559975933</c:v>
                </c:pt>
                <c:pt idx="9">
                  <c:v>0.14397146372186226</c:v>
                </c:pt>
                <c:pt idx="10">
                  <c:v>8.6189692849985005E-4</c:v>
                </c:pt>
                <c:pt idx="11">
                  <c:v>5.2192045553033015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6.9680809199042524E-3</c:v>
                </c:pt>
                <c:pt idx="5">
                  <c:v>4.484730103724654E-3</c:v>
                </c:pt>
                <c:pt idx="8">
                  <c:v>1.1764920110831023E-2</c:v>
                </c:pt>
                <c:pt idx="9">
                  <c:v>6.687431897344936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7914751728301275</c:v>
                </c:pt>
                <c:pt idx="6">
                  <c:v>1.8221491435368168E-2</c:v>
                </c:pt>
                <c:pt idx="7">
                  <c:v>2.4821357447577314E-2</c:v>
                </c:pt>
                <c:pt idx="9">
                  <c:v>0.44318587347492583</c:v>
                </c:pt>
                <c:pt idx="10">
                  <c:v>3.191924475174359E-2</c:v>
                </c:pt>
                <c:pt idx="11">
                  <c:v>1.717771003812333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6945324985376724</c:v>
                </c:pt>
                <c:pt idx="6">
                  <c:v>1.7951669769388317E-2</c:v>
                </c:pt>
                <c:pt idx="7">
                  <c:v>1.9052357072915777E-2</c:v>
                </c:pt>
                <c:pt idx="9">
                  <c:v>0.45200352226145757</c:v>
                </c:pt>
                <c:pt idx="10">
                  <c:v>3.4069438447435908E-2</c:v>
                </c:pt>
                <c:pt idx="12">
                  <c:v>7.452714721268427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9944007839767784</c:v>
                </c:pt>
                <c:pt idx="6">
                  <c:v>1.6155373871998238E-2</c:v>
                </c:pt>
                <c:pt idx="7">
                  <c:v>3.1881979303787146E-2</c:v>
                </c:pt>
                <c:pt idx="9">
                  <c:v>1.2662711277150168E-3</c:v>
                </c:pt>
                <c:pt idx="10">
                  <c:v>0.4512544092596991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8899443980434349E-2</c:v>
                </c:pt>
                <c:pt idx="1">
                  <c:v>5.1803542935656838E-3</c:v>
                </c:pt>
                <c:pt idx="2">
                  <c:v>6.4755866778982929E-2</c:v>
                </c:pt>
                <c:pt idx="3">
                  <c:v>0.10461701106794237</c:v>
                </c:pt>
                <c:pt idx="4">
                  <c:v>1.8021381861367716E-2</c:v>
                </c:pt>
                <c:pt idx="5">
                  <c:v>0.19988749427527719</c:v>
                </c:pt>
                <c:pt idx="6">
                  <c:v>2.5989686419916082E-2</c:v>
                </c:pt>
                <c:pt idx="7">
                  <c:v>6.0607765535214686E-2</c:v>
                </c:pt>
                <c:pt idx="8">
                  <c:v>0.33208029496481511</c:v>
                </c:pt>
                <c:pt idx="9">
                  <c:v>0.12980514707688273</c:v>
                </c:pt>
                <c:pt idx="10">
                  <c:v>2.977465156256528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3150243301704233E-3</c:v>
                </c:pt>
                <c:pt idx="2">
                  <c:v>3.1961258290724277E-2</c:v>
                </c:pt>
                <c:pt idx="3">
                  <c:v>2.3475277936841061E-3</c:v>
                </c:pt>
                <c:pt idx="4">
                  <c:v>2.0730484529548742E-3</c:v>
                </c:pt>
                <c:pt idx="5">
                  <c:v>0.38162748586160972</c:v>
                </c:pt>
                <c:pt idx="8">
                  <c:v>0.56629855976839949</c:v>
                </c:pt>
                <c:pt idx="9">
                  <c:v>1.4377095502457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1338356994032058E-4</c:v>
                </c:pt>
                <c:pt idx="2">
                  <c:v>1.9618191826917E-2</c:v>
                </c:pt>
                <c:pt idx="3">
                  <c:v>7.402755160323117E-4</c:v>
                </c:pt>
                <c:pt idx="5">
                  <c:v>0.32972950609608243</c:v>
                </c:pt>
                <c:pt idx="8">
                  <c:v>0.64555949613227182</c:v>
                </c:pt>
                <c:pt idx="9">
                  <c:v>3.6391468587563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8809060429939978E-3</c:v>
                </c:pt>
                <c:pt idx="2">
                  <c:v>4.8549042425449891E-2</c:v>
                </c:pt>
                <c:pt idx="3">
                  <c:v>8.2437754753488194E-3</c:v>
                </c:pt>
                <c:pt idx="4">
                  <c:v>2.2353924353407596E-3</c:v>
                </c:pt>
                <c:pt idx="5">
                  <c:v>0.47110126521021412</c:v>
                </c:pt>
                <c:pt idx="8">
                  <c:v>0.45221803035632874</c:v>
                </c:pt>
                <c:pt idx="9">
                  <c:v>1.577158805432363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8554906966759353E-3</c:v>
                </c:pt>
                <c:pt idx="1">
                  <c:v>2.8441740379247186E-2</c:v>
                </c:pt>
                <c:pt idx="2">
                  <c:v>9.7613213628071141E-3</c:v>
                </c:pt>
                <c:pt idx="3">
                  <c:v>3.0379211598501585E-2</c:v>
                </c:pt>
                <c:pt idx="4">
                  <c:v>9.7600513763922508E-2</c:v>
                </c:pt>
                <c:pt idx="5">
                  <c:v>4.6255803376908433E-2</c:v>
                </c:pt>
                <c:pt idx="6">
                  <c:v>0.21170893053512191</c:v>
                </c:pt>
                <c:pt idx="7">
                  <c:v>0.32083983687169554</c:v>
                </c:pt>
                <c:pt idx="8">
                  <c:v>9.0787088002621835E-2</c:v>
                </c:pt>
                <c:pt idx="9">
                  <c:v>0.11338747694483581</c:v>
                </c:pt>
                <c:pt idx="10">
                  <c:v>4.5216353372256775E-2</c:v>
                </c:pt>
                <c:pt idx="11">
                  <c:v>7.56581387852979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1365939873101784E-2</c:v>
                </c:pt>
                <c:pt idx="3">
                  <c:v>6.7249524135804296E-3</c:v>
                </c:pt>
                <c:pt idx="5">
                  <c:v>4.2366876537410043E-3</c:v>
                </c:pt>
                <c:pt idx="8">
                  <c:v>8.2534548520981615E-3</c:v>
                </c:pt>
                <c:pt idx="9">
                  <c:v>1.643880785394096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3734167837544734E-3</c:v>
                </c:pt>
                <c:pt idx="1">
                  <c:v>3.204776445831363E-2</c:v>
                </c:pt>
                <c:pt idx="2">
                  <c:v>8.4053595938634509E-3</c:v>
                </c:pt>
                <c:pt idx="3">
                  <c:v>2.9240642403088886E-2</c:v>
                </c:pt>
                <c:pt idx="4">
                  <c:v>9.5440009926194599E-2</c:v>
                </c:pt>
                <c:pt idx="5">
                  <c:v>4.1250137374282493E-2</c:v>
                </c:pt>
                <c:pt idx="6">
                  <c:v>0.1994191602003694</c:v>
                </c:pt>
                <c:pt idx="7">
                  <c:v>0.32526788548230701</c:v>
                </c:pt>
                <c:pt idx="8">
                  <c:v>9.8233775504279225E-2</c:v>
                </c:pt>
                <c:pt idx="9">
                  <c:v>0.11967348660579877</c:v>
                </c:pt>
                <c:pt idx="10">
                  <c:v>4.641859315961274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6.1291545320060212E-3</c:v>
                </c:pt>
                <c:pt idx="5">
                  <c:v>1.504742631272532E-3</c:v>
                </c:pt>
                <c:pt idx="8">
                  <c:v>6.2959899233690619E-3</c:v>
                </c:pt>
                <c:pt idx="9">
                  <c:v>4.702969750242329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7543291482773286E-2</c:v>
                </c:pt>
                <c:pt idx="3">
                  <c:v>8.6651828256586721E-3</c:v>
                </c:pt>
                <c:pt idx="5">
                  <c:v>1.0766128853804109E-3</c:v>
                </c:pt>
                <c:pt idx="8">
                  <c:v>1.0776193913363263E-2</c:v>
                </c:pt>
                <c:pt idx="9">
                  <c:v>2.279516032290979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2960365324271645E-3</c:v>
                </c:pt>
                <c:pt idx="2">
                  <c:v>3.6114911038373609E-2</c:v>
                </c:pt>
                <c:pt idx="3">
                  <c:v>0.13704769360926553</c:v>
                </c:pt>
                <c:pt idx="5">
                  <c:v>0.26434531785433935</c:v>
                </c:pt>
                <c:pt idx="6">
                  <c:v>1.1162341815090673E-3</c:v>
                </c:pt>
                <c:pt idx="7">
                  <c:v>3.3359109177129491E-3</c:v>
                </c:pt>
                <c:pt idx="8">
                  <c:v>0.40059200559975933</c:v>
                </c:pt>
                <c:pt idx="9">
                  <c:v>0.14397146372186226</c:v>
                </c:pt>
                <c:pt idx="10">
                  <c:v>8.6189692849985005E-4</c:v>
                </c:pt>
                <c:pt idx="11">
                  <c:v>5.2192045553033015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3117158676907078E-2</c:v>
                </c:pt>
                <c:pt idx="3">
                  <c:v>8.5449388532332117E-3</c:v>
                </c:pt>
                <c:pt idx="5">
                  <c:v>3.6803737621203944E-3</c:v>
                </c:pt>
                <c:pt idx="8">
                  <c:v>1.3079844404369269E-2</c:v>
                </c:pt>
                <c:pt idx="9">
                  <c:v>7.9761191854968742E-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7914751728301275</c:v>
                </c:pt>
                <c:pt idx="6">
                  <c:v>1.8221491435368168E-2</c:v>
                </c:pt>
                <c:pt idx="7">
                  <c:v>2.4821357447577314E-2</c:v>
                </c:pt>
                <c:pt idx="9">
                  <c:v>0.44318587347492583</c:v>
                </c:pt>
                <c:pt idx="10">
                  <c:v>3.191924475174359E-2</c:v>
                </c:pt>
                <c:pt idx="11">
                  <c:v>1.717771003812333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6945324985376724</c:v>
                </c:pt>
                <c:pt idx="6">
                  <c:v>1.7951669769388317E-2</c:v>
                </c:pt>
                <c:pt idx="7">
                  <c:v>1.9052357072915777E-2</c:v>
                </c:pt>
                <c:pt idx="9">
                  <c:v>0.45200352226145757</c:v>
                </c:pt>
                <c:pt idx="10">
                  <c:v>3.4069438447435908E-2</c:v>
                </c:pt>
                <c:pt idx="12">
                  <c:v>7.452714721268427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9944007839767784</c:v>
                </c:pt>
                <c:pt idx="6">
                  <c:v>1.6155373871998238E-2</c:v>
                </c:pt>
                <c:pt idx="7">
                  <c:v>3.1881979303787146E-2</c:v>
                </c:pt>
                <c:pt idx="9">
                  <c:v>1.2662711277150168E-3</c:v>
                </c:pt>
                <c:pt idx="10">
                  <c:v>0.4512544092596991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3150243301704233E-3</c:v>
                </c:pt>
                <c:pt idx="2">
                  <c:v>3.1961258290724277E-2</c:v>
                </c:pt>
                <c:pt idx="3">
                  <c:v>2.3475277936841061E-3</c:v>
                </c:pt>
                <c:pt idx="4">
                  <c:v>2.0730484529548742E-3</c:v>
                </c:pt>
                <c:pt idx="5">
                  <c:v>0.38162748586160972</c:v>
                </c:pt>
                <c:pt idx="8">
                  <c:v>0.56629855976839949</c:v>
                </c:pt>
                <c:pt idx="9">
                  <c:v>1.4377095502457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9228917147230055E-2</c:v>
                </c:pt>
                <c:pt idx="2">
                  <c:v>8.8026111166818521E-2</c:v>
                </c:pt>
                <c:pt idx="3">
                  <c:v>0.14262715024337333</c:v>
                </c:pt>
                <c:pt idx="5">
                  <c:v>0.22104468597369087</c:v>
                </c:pt>
                <c:pt idx="6">
                  <c:v>9.693855530901747E-4</c:v>
                </c:pt>
                <c:pt idx="7">
                  <c:v>1.866192861775446E-3</c:v>
                </c:pt>
                <c:pt idx="8">
                  <c:v>0.36373832536069917</c:v>
                </c:pt>
                <c:pt idx="9">
                  <c:v>0.14790646668867971</c:v>
                </c:pt>
                <c:pt idx="11">
                  <c:v>3.8765162308540694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5.1615494878992614E-3</c:v>
                </c:pt>
                <c:pt idx="8">
                  <c:v>3.683558297511893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1338356994032058E-4</c:v>
                </c:pt>
                <c:pt idx="2">
                  <c:v>1.9618191826917E-2</c:v>
                </c:pt>
                <c:pt idx="3">
                  <c:v>7.402755160323117E-4</c:v>
                </c:pt>
                <c:pt idx="5">
                  <c:v>0.32972950609608243</c:v>
                </c:pt>
                <c:pt idx="8">
                  <c:v>0.64555949613227182</c:v>
                </c:pt>
                <c:pt idx="9">
                  <c:v>3.6391468587563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2.9982796049871918E-3</c:v>
                </c:pt>
                <c:pt idx="8">
                  <c:v>9.269665310194001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8809060429939978E-3</c:v>
                </c:pt>
                <c:pt idx="2">
                  <c:v>4.8549042425449891E-2</c:v>
                </c:pt>
                <c:pt idx="3">
                  <c:v>8.2437754753488194E-3</c:v>
                </c:pt>
                <c:pt idx="4">
                  <c:v>2.2353924353407596E-3</c:v>
                </c:pt>
                <c:pt idx="5">
                  <c:v>0.47110126521021412</c:v>
                </c:pt>
                <c:pt idx="8">
                  <c:v>0.45221803035632874</c:v>
                </c:pt>
                <c:pt idx="9">
                  <c:v>1.577158805432363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8554906966759353E-3</c:v>
                </c:pt>
                <c:pt idx="1">
                  <c:v>2.8441740379247186E-2</c:v>
                </c:pt>
                <c:pt idx="2">
                  <c:v>9.7613213628071141E-3</c:v>
                </c:pt>
                <c:pt idx="3">
                  <c:v>3.0379211598501585E-2</c:v>
                </c:pt>
                <c:pt idx="4">
                  <c:v>9.7600513763922508E-2</c:v>
                </c:pt>
                <c:pt idx="5">
                  <c:v>4.6255803376908433E-2</c:v>
                </c:pt>
                <c:pt idx="6">
                  <c:v>0.21170893053512191</c:v>
                </c:pt>
                <c:pt idx="7">
                  <c:v>0.32083983687169554</c:v>
                </c:pt>
                <c:pt idx="8">
                  <c:v>9.0787088002621835E-2</c:v>
                </c:pt>
                <c:pt idx="9">
                  <c:v>0.11338747694483581</c:v>
                </c:pt>
                <c:pt idx="10">
                  <c:v>4.5216353372256775E-2</c:v>
                </c:pt>
                <c:pt idx="11">
                  <c:v>7.56581387852979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3.02759702440282E-3</c:v>
                </c:pt>
                <c:pt idx="7">
                  <c:v>1.0300165534904381E-2</c:v>
                </c:pt>
                <c:pt idx="10">
                  <c:v>5.019714778849591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3734167837544734E-3</c:v>
                </c:pt>
                <c:pt idx="1">
                  <c:v>3.204776445831363E-2</c:v>
                </c:pt>
                <c:pt idx="2">
                  <c:v>8.4053595938634509E-3</c:v>
                </c:pt>
                <c:pt idx="3">
                  <c:v>2.9240642403088886E-2</c:v>
                </c:pt>
                <c:pt idx="4">
                  <c:v>9.5440009926194599E-2</c:v>
                </c:pt>
                <c:pt idx="5">
                  <c:v>4.1250137374282493E-2</c:v>
                </c:pt>
                <c:pt idx="6">
                  <c:v>0.1994191602003694</c:v>
                </c:pt>
                <c:pt idx="7">
                  <c:v>0.32526788548230701</c:v>
                </c:pt>
                <c:pt idx="8">
                  <c:v>9.8233775504279225E-2</c:v>
                </c:pt>
                <c:pt idx="9">
                  <c:v>0.11967348660579877</c:v>
                </c:pt>
                <c:pt idx="10">
                  <c:v>4.641859315961274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3.0273979242497469E-3</c:v>
                </c:pt>
                <c:pt idx="7">
                  <c:v>1.0885058477386517E-2</c:v>
                </c:pt>
                <c:pt idx="10">
                  <c:v>6.341110751669936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2960365324271645E-3</c:v>
                </c:pt>
                <c:pt idx="2">
                  <c:v>3.6114911038373609E-2</c:v>
                </c:pt>
                <c:pt idx="3">
                  <c:v>0.13704769360926553</c:v>
                </c:pt>
                <c:pt idx="5">
                  <c:v>0.26434531785433935</c:v>
                </c:pt>
                <c:pt idx="6">
                  <c:v>1.1162341815090673E-3</c:v>
                </c:pt>
                <c:pt idx="7">
                  <c:v>3.3359109177129491E-3</c:v>
                </c:pt>
                <c:pt idx="8">
                  <c:v>0.40059200559975933</c:v>
                </c:pt>
                <c:pt idx="9">
                  <c:v>0.14397146372186226</c:v>
                </c:pt>
                <c:pt idx="10">
                  <c:v>8.6189692849985005E-4</c:v>
                </c:pt>
                <c:pt idx="11">
                  <c:v>5.2192045553033015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2.8474788056236087E-3</c:v>
                </c:pt>
                <c:pt idx="5">
                  <c:v>1.8326672818652619E-3</c:v>
                </c:pt>
                <c:pt idx="8">
                  <c:v>4.8076882359033533E-3</c:v>
                </c:pt>
                <c:pt idx="9">
                  <c:v>2.732792688636377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6">
                  <c:v>6.0152603360252395E-3</c:v>
                </c:pt>
                <c:pt idx="7">
                  <c:v>1.4249279373871063E-2</c:v>
                </c:pt>
                <c:pt idx="10">
                  <c:v>7.1301522399890294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7914751728301275</c:v>
                </c:pt>
                <c:pt idx="6">
                  <c:v>1.8221491435368168E-2</c:v>
                </c:pt>
                <c:pt idx="7">
                  <c:v>2.4821357447577314E-2</c:v>
                </c:pt>
                <c:pt idx="9">
                  <c:v>0.44318587347492583</c:v>
                </c:pt>
                <c:pt idx="10">
                  <c:v>3.191924475174359E-2</c:v>
                </c:pt>
                <c:pt idx="11">
                  <c:v>1.717771003812333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8.6437501431143426E-2</c:v>
                </c:pt>
                <c:pt idx="10">
                  <c:v>7.3340075682900804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6945324985376724</c:v>
                </c:pt>
                <c:pt idx="6">
                  <c:v>1.7951669769388317E-2</c:v>
                </c:pt>
                <c:pt idx="7">
                  <c:v>1.9052357072915777E-2</c:v>
                </c:pt>
                <c:pt idx="9">
                  <c:v>0.45200352226145757</c:v>
                </c:pt>
                <c:pt idx="10">
                  <c:v>3.4069438447435908E-2</c:v>
                </c:pt>
                <c:pt idx="12">
                  <c:v>7.452714721268427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9.3832350898946801E-2</c:v>
                </c:pt>
                <c:pt idx="10">
                  <c:v>1.355862154566164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5">
                  <c:v>0.49944007839767784</c:v>
                </c:pt>
                <c:pt idx="6">
                  <c:v>1.6155373871998238E-2</c:v>
                </c:pt>
                <c:pt idx="7">
                  <c:v>3.1881979303787146E-2</c:v>
                </c:pt>
                <c:pt idx="9">
                  <c:v>1.2662711277150168E-3</c:v>
                </c:pt>
                <c:pt idx="10">
                  <c:v>0.4512544092596991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9">
                  <c:v>0.11085873447412328</c:v>
                </c:pt>
                <c:pt idx="10">
                  <c:v>1.2662711277150168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3150243301704233E-3</c:v>
                </c:pt>
                <c:pt idx="2">
                  <c:v>3.1961258290724277E-2</c:v>
                </c:pt>
                <c:pt idx="3">
                  <c:v>2.3475277936841061E-3</c:v>
                </c:pt>
                <c:pt idx="4">
                  <c:v>2.0730484529548742E-3</c:v>
                </c:pt>
                <c:pt idx="5">
                  <c:v>0.38162748586160972</c:v>
                </c:pt>
                <c:pt idx="8">
                  <c:v>0.56629855976839949</c:v>
                </c:pt>
                <c:pt idx="9">
                  <c:v>1.4377095502457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1.845042015692020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7.1338356994032058E-4</c:v>
                </c:pt>
                <c:pt idx="2">
                  <c:v>1.9618191826917E-2</c:v>
                </c:pt>
                <c:pt idx="3">
                  <c:v>7.402755160323117E-4</c:v>
                </c:pt>
                <c:pt idx="5">
                  <c:v>0.32972950609608243</c:v>
                </c:pt>
                <c:pt idx="8">
                  <c:v>0.64555949613227182</c:v>
                </c:pt>
                <c:pt idx="9">
                  <c:v>3.63914685875637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7122140355978725E-2</c:v>
                </c:pt>
                <c:pt idx="1">
                  <c:v>5.5754557902565078E-3</c:v>
                </c:pt>
                <c:pt idx="2">
                  <c:v>6.814721198565897E-2</c:v>
                </c:pt>
                <c:pt idx="3">
                  <c:v>0.11028045551334936</c:v>
                </c:pt>
                <c:pt idx="4">
                  <c:v>1.7387101469783731E-2</c:v>
                </c:pt>
                <c:pt idx="5">
                  <c:v>0.20733639545642582</c:v>
                </c:pt>
                <c:pt idx="6">
                  <c:v>2.6923792213839906E-2</c:v>
                </c:pt>
                <c:pt idx="7">
                  <c:v>5.1957357396912048E-2</c:v>
                </c:pt>
                <c:pt idx="8">
                  <c:v>0.33084619978805307</c:v>
                </c:pt>
                <c:pt idx="9">
                  <c:v>0.12682383401021838</c:v>
                </c:pt>
                <c:pt idx="10">
                  <c:v>2.6739845540273522E-2</c:v>
                </c:pt>
                <c:pt idx="11">
                  <c:v>8.054054550708686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2.189429626420302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8809060429939978E-3</c:v>
                </c:pt>
                <c:pt idx="2">
                  <c:v>4.8549042425449891E-2</c:v>
                </c:pt>
                <c:pt idx="3">
                  <c:v>8.2437754753488194E-3</c:v>
                </c:pt>
                <c:pt idx="4">
                  <c:v>2.2353924353407596E-3</c:v>
                </c:pt>
                <c:pt idx="5">
                  <c:v>0.47110126521021412</c:v>
                </c:pt>
                <c:pt idx="8">
                  <c:v>0.45221803035632874</c:v>
                </c:pt>
                <c:pt idx="9">
                  <c:v>1.5771588054323639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2.006187522339349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094197216483182E-2</c:v>
                </c:pt>
                <c:pt idx="2">
                  <c:v>9.6880276114732294E-2</c:v>
                </c:pt>
                <c:pt idx="3">
                  <c:v>0.17693155055074417</c:v>
                </c:pt>
                <c:pt idx="4">
                  <c:v>5.3446014819036151E-2</c:v>
                </c:pt>
                <c:pt idx="5">
                  <c:v>0.15056949109524098</c:v>
                </c:pt>
                <c:pt idx="6">
                  <c:v>2.2104341013370931E-3</c:v>
                </c:pt>
                <c:pt idx="7">
                  <c:v>4.2047893689314997E-2</c:v>
                </c:pt>
                <c:pt idx="8">
                  <c:v>0.29352518203765332</c:v>
                </c:pt>
                <c:pt idx="9">
                  <c:v>0.16639940016881108</c:v>
                </c:pt>
                <c:pt idx="10">
                  <c:v>6.693498475671169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4">
                  <c:v>5.2332068254325133E-2</c:v>
                </c:pt>
                <c:pt idx="6">
                  <c:v>2.4515348950153868E-2</c:v>
                </c:pt>
                <c:pt idx="7">
                  <c:v>8.5178876856365007E-2</c:v>
                </c:pt>
                <c:pt idx="9">
                  <c:v>3.96119252888557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2.3476306319308922E-2</c:v>
                </c:pt>
                <c:pt idx="2">
                  <c:v>0.14696565929531613</c:v>
                </c:pt>
                <c:pt idx="3">
                  <c:v>0.1841801727141622</c:v>
                </c:pt>
                <c:pt idx="4">
                  <c:v>3.295751999351379E-2</c:v>
                </c:pt>
                <c:pt idx="5">
                  <c:v>0.12209728666031888</c:v>
                </c:pt>
                <c:pt idx="6">
                  <c:v>5.5769791123886107E-3</c:v>
                </c:pt>
                <c:pt idx="7">
                  <c:v>2.6064665698349303E-2</c:v>
                </c:pt>
                <c:pt idx="8">
                  <c:v>0.24034269525849561</c:v>
                </c:pt>
                <c:pt idx="9">
                  <c:v>0.20465369274072781</c:v>
                </c:pt>
                <c:pt idx="10">
                  <c:v>1.3002154197850399E-2</c:v>
                </c:pt>
                <c:pt idx="11">
                  <c:v>6.8194524330137752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7.8700417513986307E-2</c:v>
                </c:pt>
                <c:pt idx="5">
                  <c:v>1.932140439824797E-2</c:v>
                </c:pt>
                <c:pt idx="8">
                  <c:v>7.1782763875395186E-2</c:v>
                </c:pt>
                <c:pt idx="9">
                  <c:v>5.28471806365719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9.9025390559011175E-2</c:v>
                </c:pt>
                <c:pt idx="3">
                  <c:v>0.19501182742892956</c:v>
                </c:pt>
                <c:pt idx="5">
                  <c:v>0.19221661010637114</c:v>
                </c:pt>
                <c:pt idx="7">
                  <c:v>4.4553653201097635E-3</c:v>
                </c:pt>
                <c:pt idx="8">
                  <c:v>0.32620737314256526</c:v>
                </c:pt>
                <c:pt idx="9">
                  <c:v>0.18163460063555481</c:v>
                </c:pt>
                <c:pt idx="10">
                  <c:v>1.0718808459023585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3">
                  <c:v>5.2604146335066902E-2</c:v>
                </c:pt>
                <c:pt idx="5">
                  <c:v>3.3856581368870375E-2</c:v>
                </c:pt>
                <c:pt idx="8">
                  <c:v>8.5025244020544052E-2</c:v>
                </c:pt>
                <c:pt idx="9">
                  <c:v>4.373994730233104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3.0312546756316075E-2</c:v>
                </c:pt>
                <c:pt idx="3">
                  <c:v>4.1137278657995359E-2</c:v>
                </c:pt>
                <c:pt idx="5">
                  <c:v>0.26441736817554373</c:v>
                </c:pt>
                <c:pt idx="6">
                  <c:v>4.9131473718148973E-2</c:v>
                </c:pt>
                <c:pt idx="7">
                  <c:v>0.49270407647915671</c:v>
                </c:pt>
                <c:pt idx="8">
                  <c:v>5.9502162452361049E-2</c:v>
                </c:pt>
                <c:pt idx="9">
                  <c:v>5.8546804951692615E-2</c:v>
                </c:pt>
                <c:pt idx="10">
                  <c:v>4.231288484179993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6.4910329043946901E-3</c:v>
                </c:pt>
                <c:pt idx="3">
                  <c:v>3.8405875699152707E-3</c:v>
                </c:pt>
                <c:pt idx="5">
                  <c:v>2.5128495530158694E-3</c:v>
                </c:pt>
                <c:pt idx="8">
                  <c:v>5.3793314515857751E-3</c:v>
                </c:pt>
                <c:pt idx="9">
                  <c:v>9.3881231011503448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4.3712108953747357E-3</c:v>
                </c:pt>
                <c:pt idx="10">
                  <c:v>4.369274925996972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4.0866662464118811E-2</c:v>
                </c:pt>
                <c:pt idx="4">
                  <c:v>4.5633021875691224E-2</c:v>
                </c:pt>
                <c:pt idx="5">
                  <c:v>3.8701355527194066E-2</c:v>
                </c:pt>
                <c:pt idx="6">
                  <c:v>0.22192560355519467</c:v>
                </c:pt>
                <c:pt idx="7">
                  <c:v>0.54405836650955963</c:v>
                </c:pt>
                <c:pt idx="8">
                  <c:v>4.9817374574832686E-2</c:v>
                </c:pt>
                <c:pt idx="9">
                  <c:v>5.870398517248189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7.7200506253627989E-3</c:v>
                </c:pt>
                <c:pt idx="10">
                  <c:v>6.425403785250638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2">
                  <c:v>1.4730354873988525E-2</c:v>
                </c:pt>
                <c:pt idx="3">
                  <c:v>6.8172638867039656E-2</c:v>
                </c:pt>
                <c:pt idx="5">
                  <c:v>0.30914313265850801</c:v>
                </c:pt>
                <c:pt idx="8">
                  <c:v>0.54860475711832579</c:v>
                </c:pt>
                <c:pt idx="9">
                  <c:v>5.871901674128954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7">
                  <c:v>3.0402933460139136E-3</c:v>
                </c:pt>
                <c:pt idx="10">
                  <c:v>5.408745527176450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3.0514884509204492E-3</c:v>
                </c:pt>
                <c:pt idx="1">
                  <c:v>4.4352743456934855E-3</c:v>
                </c:pt>
                <c:pt idx="2">
                  <c:v>3.4694502563154175E-3</c:v>
                </c:pt>
                <c:pt idx="3">
                  <c:v>5.9649644512206321E-2</c:v>
                </c:pt>
                <c:pt idx="4">
                  <c:v>3.9085132320912236E-2</c:v>
                </c:pt>
                <c:pt idx="5">
                  <c:v>8.6695116521100249E-2</c:v>
                </c:pt>
                <c:pt idx="6">
                  <c:v>2.7360055985208086E-2</c:v>
                </c:pt>
                <c:pt idx="7">
                  <c:v>0.24180534467699411</c:v>
                </c:pt>
                <c:pt idx="8">
                  <c:v>0.14148704324444239</c:v>
                </c:pt>
                <c:pt idx="9">
                  <c:v>0.14860283441539809</c:v>
                </c:pt>
                <c:pt idx="10">
                  <c:v>0.244358615270809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4.3623544200504039E-3</c:v>
                </c:pt>
                <c:pt idx="1">
                  <c:v>1.1454750131276404E-3</c:v>
                </c:pt>
                <c:pt idx="2">
                  <c:v>7.4220041840183384E-4</c:v>
                </c:pt>
                <c:pt idx="3">
                  <c:v>5.2895285528101438E-2</c:v>
                </c:pt>
                <c:pt idx="4">
                  <c:v>3.9345803659033951E-2</c:v>
                </c:pt>
                <c:pt idx="5">
                  <c:v>9.1889564298411372E-2</c:v>
                </c:pt>
                <c:pt idx="6">
                  <c:v>2.2778357111808513E-2</c:v>
                </c:pt>
                <c:pt idx="7">
                  <c:v>0.19375608835055957</c:v>
                </c:pt>
                <c:pt idx="8">
                  <c:v>0.24876664768393597</c:v>
                </c:pt>
                <c:pt idx="9">
                  <c:v>0.13008962121002385</c:v>
                </c:pt>
                <c:pt idx="10">
                  <c:v>0.2142286023065454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0588329459832054E-3</c:v>
                </c:pt>
                <c:pt idx="1">
                  <c:v>7.8251402036527088E-4</c:v>
                </c:pt>
                <c:pt idx="4">
                  <c:v>8.9010434283185988E-2</c:v>
                </c:pt>
                <c:pt idx="6">
                  <c:v>0.11588715556988459</c:v>
                </c:pt>
                <c:pt idx="7">
                  <c:v>0.38683540238311287</c:v>
                </c:pt>
                <c:pt idx="8">
                  <c:v>8.171563093686076E-3</c:v>
                </c:pt>
                <c:pt idx="9">
                  <c:v>0.39440308746753622</c:v>
                </c:pt>
                <c:pt idx="10">
                  <c:v>3.1710661268696699E-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8899443980434349E-2</c:v>
                </c:pt>
                <c:pt idx="1">
                  <c:v>5.1803542935656838E-3</c:v>
                </c:pt>
                <c:pt idx="2">
                  <c:v>6.4755866778982929E-2</c:v>
                </c:pt>
                <c:pt idx="3">
                  <c:v>0.10461701106794237</c:v>
                </c:pt>
                <c:pt idx="4">
                  <c:v>1.8021381861367716E-2</c:v>
                </c:pt>
                <c:pt idx="5">
                  <c:v>0.19988749427527719</c:v>
                </c:pt>
                <c:pt idx="6">
                  <c:v>2.5989686419916082E-2</c:v>
                </c:pt>
                <c:pt idx="7">
                  <c:v>6.0607765535214686E-2</c:v>
                </c:pt>
                <c:pt idx="8">
                  <c:v>0.33208029496481511</c:v>
                </c:pt>
                <c:pt idx="9">
                  <c:v>0.12980514707688273</c:v>
                </c:pt>
                <c:pt idx="10">
                  <c:v>2.9774651562565285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5157577861394508E-2</c:v>
                </c:pt>
                <c:pt idx="1">
                  <c:v>4.0338290807629851E-2</c:v>
                </c:pt>
                <c:pt idx="2">
                  <c:v>2.7317055035750843E-2</c:v>
                </c:pt>
                <c:pt idx="3">
                  <c:v>4.5773405333712824E-2</c:v>
                </c:pt>
                <c:pt idx="4">
                  <c:v>0.16969832877932148</c:v>
                </c:pt>
                <c:pt idx="5">
                  <c:v>0.39888044764011138</c:v>
                </c:pt>
                <c:pt idx="6">
                  <c:v>8.5453563995645465E-2</c:v>
                </c:pt>
                <c:pt idx="7">
                  <c:v>0.16633249927719454</c:v>
                </c:pt>
                <c:pt idx="8">
                  <c:v>4.0550623547376534E-2</c:v>
                </c:pt>
                <c:pt idx="9">
                  <c:v>9.7361119113524835E-3</c:v>
                </c:pt>
                <c:pt idx="10">
                  <c:v>7.620958105100844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1.236538655618517E-2</c:v>
                </c:pt>
                <c:pt idx="1">
                  <c:v>2.5881090291032308E-2</c:v>
                </c:pt>
                <c:pt idx="2">
                  <c:v>2.017391439462202E-2</c:v>
                </c:pt>
                <c:pt idx="3">
                  <c:v>3.9383419606315632E-2</c:v>
                </c:pt>
                <c:pt idx="4">
                  <c:v>0.15717055300638599</c:v>
                </c:pt>
                <c:pt idx="5">
                  <c:v>8.8318017773152624E-2</c:v>
                </c:pt>
                <c:pt idx="6">
                  <c:v>0.41071261682106197</c:v>
                </c:pt>
                <c:pt idx="7">
                  <c:v>4.4396021725698349E-2</c:v>
                </c:pt>
                <c:pt idx="8">
                  <c:v>0.18771142446126557</c:v>
                </c:pt>
                <c:pt idx="9">
                  <c:v>1.3883665734837373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0">
                  <c:v>2.5205229389434692E-2</c:v>
                </c:pt>
                <c:pt idx="1">
                  <c:v>7.0854005164393927E-2</c:v>
                </c:pt>
                <c:pt idx="4">
                  <c:v>0.22945432953046957</c:v>
                </c:pt>
                <c:pt idx="5">
                  <c:v>3.8148882224123101E-3</c:v>
                </c:pt>
                <c:pt idx="6">
                  <c:v>0.45957844987696017</c:v>
                </c:pt>
                <c:pt idx="7">
                  <c:v>0.19641326098319853</c:v>
                </c:pt>
                <c:pt idx="10">
                  <c:v>1.467023590153841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794904042781517E-3</c:v>
                </c:pt>
                <c:pt idx="3">
                  <c:v>1.2097336922149603E-2</c:v>
                </c:pt>
                <c:pt idx="4">
                  <c:v>5.3250800681535662E-2</c:v>
                </c:pt>
                <c:pt idx="5">
                  <c:v>4.9617802949127432E-2</c:v>
                </c:pt>
                <c:pt idx="6">
                  <c:v>0.13317494056842391</c:v>
                </c:pt>
                <c:pt idx="7">
                  <c:v>0.45066032068205897</c:v>
                </c:pt>
                <c:pt idx="8">
                  <c:v>0.13758282380576167</c:v>
                </c:pt>
                <c:pt idx="9">
                  <c:v>0.11445756851909025</c:v>
                </c:pt>
                <c:pt idx="10">
                  <c:v>4.3181035605857232E-2</c:v>
                </c:pt>
                <c:pt idx="11">
                  <c:v>3.9161467489326656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4</c:f>
              <c:numCache>
                <c:formatCode>General</c:formatCode>
                <c:ptCount val="13"/>
                <c:pt idx="1">
                  <c:v>1.9200574149634607E-3</c:v>
                </c:pt>
                <c:pt idx="3">
                  <c:v>6.1681669626251878E-2</c:v>
                </c:pt>
                <c:pt idx="4">
                  <c:v>2.7371261184344724E-2</c:v>
                </c:pt>
                <c:pt idx="5">
                  <c:v>0.11202142177201879</c:v>
                </c:pt>
                <c:pt idx="6">
                  <c:v>3.4117434126563401E-2</c:v>
                </c:pt>
                <c:pt idx="7">
                  <c:v>0.12558123125571202</c:v>
                </c:pt>
                <c:pt idx="8">
                  <c:v>0.44086480824993957</c:v>
                </c:pt>
                <c:pt idx="9">
                  <c:v>6.4350498199608197E-2</c:v>
                </c:pt>
                <c:pt idx="10">
                  <c:v>0.13114877323465615</c:v>
                </c:pt>
                <c:pt idx="12">
                  <c:v>5.0455592082050151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57174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26242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514487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21328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907035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180836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923332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308697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83567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14063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609204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9867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447790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12513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964336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8707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435052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86308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81032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4793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292896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219067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73429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822233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183783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970451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133682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317544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876302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420993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61867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297993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82866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402629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61220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117316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987632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951125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237868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500867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929083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58162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161523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604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8309942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7502971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71710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153586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481311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593965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78156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048267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5721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713077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373459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289430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123994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14855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3342747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339713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1796214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8293063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733769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019690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90224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Size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89820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5561</Words>
  <Application>Microsoft Office PowerPoint</Application>
  <PresentationFormat>On-screen Show (16:9)</PresentationFormat>
  <Paragraphs>1789</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lpstr>Siz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0T14:3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